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custDataLst>
    <p:tags r:id="rId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450" autoAdjust="0"/>
  </p:normalViewPr>
  <p:slideViewPr>
    <p:cSldViewPr snapToGrid="0">
      <p:cViewPr varScale="1">
        <p:scale>
          <a:sx n="84" d="100"/>
          <a:sy n="84" d="100"/>
        </p:scale>
        <p:origin x="552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28B89A-B70C-4114-96C6-8A2566B17A94}" type="datetimeFigureOut">
              <a:rPr lang="ru-RU" smtClean="0"/>
              <a:t>29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B908D-A339-4A34-B4D0-C79DE17A30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93028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28B89A-B70C-4114-96C6-8A2566B17A94}" type="datetimeFigureOut">
              <a:rPr lang="ru-RU" smtClean="0"/>
              <a:t>29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B908D-A339-4A34-B4D0-C79DE17A30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57096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28B89A-B70C-4114-96C6-8A2566B17A94}" type="datetimeFigureOut">
              <a:rPr lang="ru-RU" smtClean="0"/>
              <a:t>29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B908D-A339-4A34-B4D0-C79DE17A30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0067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28B89A-B70C-4114-96C6-8A2566B17A94}" type="datetimeFigureOut">
              <a:rPr lang="ru-RU" smtClean="0"/>
              <a:t>29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B908D-A339-4A34-B4D0-C79DE17A30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45523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28B89A-B70C-4114-96C6-8A2566B17A94}" type="datetimeFigureOut">
              <a:rPr lang="ru-RU" smtClean="0"/>
              <a:t>29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B908D-A339-4A34-B4D0-C79DE17A30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03303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28B89A-B70C-4114-96C6-8A2566B17A94}" type="datetimeFigureOut">
              <a:rPr lang="ru-RU" smtClean="0"/>
              <a:t>29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B908D-A339-4A34-B4D0-C79DE17A30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84176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28B89A-B70C-4114-96C6-8A2566B17A94}" type="datetimeFigureOut">
              <a:rPr lang="ru-RU" smtClean="0"/>
              <a:t>29.04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B908D-A339-4A34-B4D0-C79DE17A30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48695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28B89A-B70C-4114-96C6-8A2566B17A94}" type="datetimeFigureOut">
              <a:rPr lang="ru-RU" smtClean="0"/>
              <a:t>29.04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B908D-A339-4A34-B4D0-C79DE17A30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99733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28B89A-B70C-4114-96C6-8A2566B17A94}" type="datetimeFigureOut">
              <a:rPr lang="ru-RU" smtClean="0"/>
              <a:t>29.04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B908D-A339-4A34-B4D0-C79DE17A30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1268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28B89A-B70C-4114-96C6-8A2566B17A94}" type="datetimeFigureOut">
              <a:rPr lang="ru-RU" smtClean="0"/>
              <a:t>29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B908D-A339-4A34-B4D0-C79DE17A30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35217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28B89A-B70C-4114-96C6-8A2566B17A94}" type="datetimeFigureOut">
              <a:rPr lang="ru-RU" smtClean="0"/>
              <a:t>29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B908D-A339-4A34-B4D0-C79DE17A30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66704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11766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Слайд think-cell" r:id="rId16" imgW="473" imgH="473" progId="TCLayout.ActiveDocument.1">
                  <p:embed/>
                </p:oleObj>
              </mc:Choice>
              <mc:Fallback>
                <p:oleObj name="Слайд think-cell" r:id="rId1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28B89A-B70C-4114-96C6-8A2566B17A94}" type="datetimeFigureOut">
              <a:rPr lang="ru-RU" smtClean="0"/>
              <a:t>29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9B908D-A339-4A34-B4D0-C79DE17A30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4624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9198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Слайд think-cell" r:id="rId4" imgW="473" imgH="473" progId="TCLayout.ActiveDocument.1">
                  <p:embed/>
                </p:oleObj>
              </mc:Choice>
              <mc:Fallback>
                <p:oleObj name="Слайд think-cell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0" y="0"/>
            <a:ext cx="12192000" cy="889993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7" name="Группа 26"/>
          <p:cNvGrpSpPr/>
          <p:nvPr/>
        </p:nvGrpSpPr>
        <p:grpSpPr>
          <a:xfrm>
            <a:off x="4820594" y="1159847"/>
            <a:ext cx="3505200" cy="838260"/>
            <a:chOff x="3724275" y="483572"/>
            <a:chExt cx="3505200" cy="838260"/>
          </a:xfrm>
        </p:grpSpPr>
        <p:sp>
          <p:nvSpPr>
            <p:cNvPr id="10" name="TextBox 9"/>
            <p:cNvSpPr txBox="1"/>
            <p:nvPr/>
          </p:nvSpPr>
          <p:spPr>
            <a:xfrm>
              <a:off x="3724275" y="483572"/>
              <a:ext cx="34385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b="1" dirty="0" smtClean="0">
                  <a:solidFill>
                    <a:srgbClr val="002060"/>
                  </a:solidFill>
                  <a:latin typeface="Arial Narrow" panose="020B0606020202030204" pitchFamily="34" charset="0"/>
                </a:rPr>
                <a:t>ЦЕЛЕВОЕ ВИДЕНИЕ</a:t>
              </a:r>
              <a:endParaRPr lang="ru-RU" sz="2000" b="1" dirty="0">
                <a:solidFill>
                  <a:srgbClr val="002060"/>
                </a:solidFill>
                <a:latin typeface="Arial Narrow" panose="020B0606020202030204" pitchFamily="34" charset="0"/>
              </a:endParaRPr>
            </a:p>
          </p:txBody>
        </p:sp>
        <p:cxnSp>
          <p:nvCxnSpPr>
            <p:cNvPr id="11" name="Прямая соединительная линия 10"/>
            <p:cNvCxnSpPr/>
            <p:nvPr/>
          </p:nvCxnSpPr>
          <p:spPr>
            <a:xfrm>
              <a:off x="3724275" y="883682"/>
              <a:ext cx="3305175" cy="0"/>
            </a:xfrm>
            <a:prstGeom prst="line">
              <a:avLst/>
            </a:prstGeom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3724275" y="952500"/>
              <a:ext cx="3505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endParaRPr lang="ru-RU" dirty="0" smtClean="0">
                <a:latin typeface="Arial Narrow" panose="020B0606020202030204" pitchFamily="34" charset="0"/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476250" y="3655397"/>
            <a:ext cx="43910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«ПОЛЬЗОВАТЕЛЬСКИЙ СЦЕНАРИЙ»</a:t>
            </a:r>
            <a:endParaRPr lang="ru-RU" sz="20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476250" y="4055507"/>
            <a:ext cx="6553200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485775" y="4122122"/>
            <a:ext cx="6543675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285750" indent="-285750">
              <a:buFont typeface="Arial" panose="020B0604020202020204" pitchFamily="34" charset="0"/>
              <a:buChar char="•"/>
              <a:defRPr>
                <a:solidFill>
                  <a:srgbClr val="002060"/>
                </a:solidFill>
                <a:latin typeface="Arial Narrow" panose="020B0606020202030204" pitchFamily="34" charset="0"/>
              </a:defRPr>
            </a:lvl1pPr>
          </a:lstStyle>
          <a:p>
            <a:pPr marL="342900" indent="-342900">
              <a:buFont typeface="+mj-lt"/>
              <a:buAutoNum type="arabicPeriod"/>
            </a:pPr>
            <a:r>
              <a:rPr lang="ru-RU" sz="1600" dirty="0" smtClean="0"/>
              <a:t>Выявление отклонения в работе скважины от эффективного режима.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 smtClean="0"/>
              <a:t>Отправка </a:t>
            </a:r>
            <a:r>
              <a:rPr lang="ru-RU" sz="1600" dirty="0" err="1" smtClean="0"/>
              <a:t>аларма</a:t>
            </a:r>
            <a:r>
              <a:rPr lang="ru-RU" sz="1600" dirty="0" smtClean="0"/>
              <a:t> об отклонении оператору системы «Мехфонд». </a:t>
            </a:r>
            <a:endParaRPr lang="ru-RU" sz="1600" dirty="0"/>
          </a:p>
          <a:p>
            <a:pPr marL="342900" indent="-342900">
              <a:buFont typeface="+mj-lt"/>
              <a:buAutoNum type="arabicPeriod"/>
            </a:pPr>
            <a:r>
              <a:rPr lang="ru-RU" sz="1600" dirty="0" smtClean="0"/>
              <a:t>Оператор </a:t>
            </a:r>
            <a:r>
              <a:rPr lang="ru-RU" sz="1600" dirty="0" smtClean="0"/>
              <a:t>реагирует на </a:t>
            </a:r>
            <a:r>
              <a:rPr lang="ru-RU" sz="1600" dirty="0" err="1" smtClean="0"/>
              <a:t>аларм</a:t>
            </a:r>
            <a:r>
              <a:rPr lang="ru-RU" sz="1600" dirty="0" smtClean="0"/>
              <a:t> и устанавливает причину её возникновения.</a:t>
            </a:r>
            <a:endParaRPr lang="ru-RU" sz="1600" dirty="0" smtClean="0"/>
          </a:p>
          <a:p>
            <a:pPr marL="342900" indent="-342900">
              <a:buFont typeface="+mj-lt"/>
              <a:buAutoNum type="arabicPeriod"/>
            </a:pPr>
            <a:r>
              <a:rPr lang="ru-RU" sz="1600" dirty="0" smtClean="0"/>
              <a:t>Оператор ставит необходимые мероприятия для возобновления </a:t>
            </a:r>
            <a:r>
              <a:rPr lang="ru-RU" sz="1600" dirty="0" smtClean="0"/>
              <a:t>эффективного режима </a:t>
            </a:r>
            <a:r>
              <a:rPr lang="ru-RU" sz="1600" dirty="0" smtClean="0"/>
              <a:t>работы скважины.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 smtClean="0"/>
              <a:t>Рабочи</a:t>
            </a:r>
            <a:r>
              <a:rPr lang="ru-RU" sz="1600" dirty="0" smtClean="0"/>
              <a:t>й на скважине получает инструкции от оператора по проведению мероприятия.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 smtClean="0"/>
              <a:t>Рабочий проводит необходимое мероприятие.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 smtClean="0"/>
              <a:t>Система фиксирует возвращение скважины к эффективному режиму работы.</a:t>
            </a:r>
          </a:p>
          <a:p>
            <a:pPr marL="342900" indent="-342900">
              <a:buFont typeface="+mj-lt"/>
              <a:buAutoNum type="arabicPeriod"/>
            </a:pPr>
            <a:endParaRPr lang="ru-RU" sz="1600" dirty="0"/>
          </a:p>
        </p:txBody>
      </p:sp>
      <p:sp>
        <p:nvSpPr>
          <p:cNvPr id="20" name="TextBox 19"/>
          <p:cNvSpPr txBox="1"/>
          <p:nvPr/>
        </p:nvSpPr>
        <p:spPr>
          <a:xfrm>
            <a:off x="7772400" y="3655397"/>
            <a:ext cx="34385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КПЭ</a:t>
            </a:r>
            <a:endParaRPr lang="ru-RU" sz="20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7772400" y="4055507"/>
            <a:ext cx="3305175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7772399" y="4093547"/>
            <a:ext cx="370522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Сокращение </a:t>
            </a: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недоборов нефти, </a:t>
            </a: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тонн</a:t>
            </a:r>
            <a:endParaRPr lang="ru-RU" sz="1600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Снижение затрат </a:t>
            </a:r>
            <a:r>
              <a:rPr lang="ru-RU" sz="1600" dirty="0">
                <a:solidFill>
                  <a:srgbClr val="002060"/>
                </a:solidFill>
                <a:latin typeface="Arial Narrow" panose="020B0606020202030204" pitchFamily="34" charset="0"/>
              </a:rPr>
              <a:t>на потребление э/энергии, руб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76250" y="167729"/>
            <a:ext cx="99441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Мехфонд – цифровое решение для управления </a:t>
            </a:r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добычей</a:t>
            </a:r>
            <a:endParaRPr lang="ru-RU" sz="24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76250" y="1159847"/>
            <a:ext cx="29813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РЕШАЕМАЯ ПРОБЛЕМА</a:t>
            </a:r>
            <a:endParaRPr lang="ru-RU" sz="20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476250" y="1559957"/>
            <a:ext cx="3219450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476251" y="1665089"/>
            <a:ext cx="3978018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Компания несет </a:t>
            </a:r>
            <a:r>
              <a:rPr lang="ru-RU" sz="1600" dirty="0">
                <a:solidFill>
                  <a:srgbClr val="002060"/>
                </a:solidFill>
                <a:latin typeface="Arial Narrow" panose="020B0606020202030204" pitchFamily="34" charset="0"/>
              </a:rPr>
              <a:t>расходы </a:t>
            </a: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из-за </a:t>
            </a: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недоборов нефти </a:t>
            </a: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и повышенного потребления э/энергии при работе скважины в неэффективном режиме</a:t>
            </a:r>
            <a:endParaRPr lang="ru-RU" sz="1600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Отсутствие оперативной реакции на отклонения в режиме работы скважины (выход скважины на неэффективный режим)</a:t>
            </a:r>
            <a:endParaRPr lang="ru-RU" sz="1600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8459144" y="1159847"/>
            <a:ext cx="29813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ПОЛЬЗОВАТЕЛИ</a:t>
            </a:r>
            <a:endParaRPr lang="ru-RU" sz="20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8459144" y="1559957"/>
            <a:ext cx="2981325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8492095" y="1665089"/>
            <a:ext cx="3073829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285750" indent="-285750">
              <a:buFont typeface="Arial" panose="020B0604020202020204" pitchFamily="34" charset="0"/>
              <a:buChar char="•"/>
              <a:defRPr>
                <a:solidFill>
                  <a:srgbClr val="002060"/>
                </a:solidFill>
                <a:latin typeface="Arial Narrow" panose="020B0606020202030204" pitchFamily="34" charset="0"/>
              </a:defRPr>
            </a:lvl1pPr>
          </a:lstStyle>
          <a:p>
            <a:pPr marL="182563" indent="-182563">
              <a:spcAft>
                <a:spcPts val="600"/>
              </a:spcAft>
            </a:pPr>
            <a:r>
              <a:rPr lang="ru-RU" sz="1600" dirty="0" smtClean="0"/>
              <a:t>Операторы системы «Мехфонд»</a:t>
            </a:r>
          </a:p>
          <a:p>
            <a:pPr marL="182563" indent="-182563">
              <a:spcAft>
                <a:spcPts val="600"/>
              </a:spcAft>
            </a:pPr>
            <a:r>
              <a:rPr lang="ru-RU" sz="1600" dirty="0" smtClean="0"/>
              <a:t>Рабочие на скважине, получающие инструкции от оператора</a:t>
            </a:r>
            <a:endParaRPr lang="ru-RU" sz="16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4820594" y="1665089"/>
            <a:ext cx="3305175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Мониторинг режима работы скважины в реальном времени с помощью датчиков, размещённых на скважине</a:t>
            </a:r>
            <a:endParaRPr lang="ru-RU" sz="1600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Компания получает </a:t>
            </a:r>
            <a:r>
              <a:rPr lang="ru-RU" sz="1600" dirty="0">
                <a:solidFill>
                  <a:srgbClr val="002060"/>
                </a:solidFill>
                <a:latin typeface="Arial Narrow" panose="020B0606020202030204" pitchFamily="34" charset="0"/>
              </a:rPr>
              <a:t>доход </a:t>
            </a: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от бесперебойной работы скважины в эффективном режиме</a:t>
            </a:r>
            <a:endParaRPr lang="ru-RU" sz="1600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4015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Слайд think-cell" r:id="rId4" imgW="473" imgH="473" progId="TCLayout.ActiveDocument.1">
                  <p:embed/>
                </p:oleObj>
              </mc:Choice>
              <mc:Fallback>
                <p:oleObj name="Слайд think-cell" r:id="rId4" imgW="473" imgH="47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0" y="0"/>
            <a:ext cx="12192000" cy="889993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xtBox 29"/>
          <p:cNvSpPr txBox="1"/>
          <p:nvPr/>
        </p:nvSpPr>
        <p:spPr>
          <a:xfrm>
            <a:off x="476250" y="167729"/>
            <a:ext cx="99441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  <a:latin typeface="Arial Narrow" panose="020B0606020202030204" pitchFamily="34" charset="0"/>
              </a:rPr>
              <a:t>Мехфонд – цифровое решение для управления </a:t>
            </a:r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добычей</a:t>
            </a:r>
            <a:endParaRPr lang="ru-RU" sz="24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76250" y="1264622"/>
            <a:ext cx="29813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Задание</a:t>
            </a:r>
            <a:endParaRPr lang="ru-RU" sz="20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476250" y="1664732"/>
            <a:ext cx="9020175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476250" y="1724144"/>
            <a:ext cx="10789158" cy="3370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П</a:t>
            </a: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редположить дерево метрик</a:t>
            </a: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, которое необходимо отслеживать команде продукта для мониторинга эффективности прохождения пользовательского сценария</a:t>
            </a: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. Определить 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ключевые продуктовые метрики, </a:t>
            </a: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обосновать 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свой выбор</a:t>
            </a: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Связать 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продуктовые метрики с КПЭ продукта, </a:t>
            </a: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объяснить 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как именно продуктовые метрики показывают достижение </a:t>
            </a: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КПЭ продукта.</a:t>
            </a:r>
            <a:endParaRPr lang="ru-RU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Предложить видение и структуру дашборда для 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команды продукта и для </a:t>
            </a: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бизнес-заказчика. Создайте прототип дашборда в любом удобном для вас инструменте визуализации.</a:t>
            </a:r>
            <a:endParaRPr lang="ru-RU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Необходимо </a:t>
            </a: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направить выполненное 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задание </a:t>
            </a: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в </a:t>
            </a: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срок до 7 дней с момента получения.</a:t>
            </a:r>
            <a:endParaRPr lang="ru-RU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ru-RU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ru-RU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r>
              <a:rPr lang="ru-RU" i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Для задачи принимаем, что все необходимые данные есть и могут собираться в продукте. </a:t>
            </a:r>
            <a:endParaRPr lang="ru-RU" i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8616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SICIVJALhMiinvh8obT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57</TotalTime>
  <Words>264</Words>
  <Application>Microsoft Office PowerPoint</Application>
  <PresentationFormat>Широкоэкранный</PresentationFormat>
  <Paragraphs>30</Paragraphs>
  <Slides>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8" baseType="lpstr">
      <vt:lpstr>Arial</vt:lpstr>
      <vt:lpstr>Arial Narrow</vt:lpstr>
      <vt:lpstr>Calibri</vt:lpstr>
      <vt:lpstr>Calibri Light</vt:lpstr>
      <vt:lpstr>Тема Office</vt:lpstr>
      <vt:lpstr>Слайд think-cell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User</cp:lastModifiedBy>
  <cp:revision>43</cp:revision>
  <dcterms:created xsi:type="dcterms:W3CDTF">2020-03-24T09:02:37Z</dcterms:created>
  <dcterms:modified xsi:type="dcterms:W3CDTF">2021-04-29T11:39:03Z</dcterms:modified>
</cp:coreProperties>
</file>